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2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3.png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1DC4AF-88E0-856F-E004-8C819E1F56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62F96366-66EF-B8B0-3228-03B5DDFD6D33}"/>
              </a:ext>
            </a:extLst>
          </p:cNvPr>
          <p:cNvGrpSpPr/>
          <p:nvPr/>
        </p:nvGrpSpPr>
        <p:grpSpPr>
          <a:xfrm>
            <a:off x="5191223" y="3217256"/>
            <a:ext cx="1939468" cy="1939467"/>
            <a:chOff x="3602267" y="2122974"/>
            <a:chExt cx="1939468" cy="1939467"/>
          </a:xfrm>
        </p:grpSpPr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8121489A-9327-2653-724D-7D0B891B5BE6}"/>
                </a:ext>
              </a:extLst>
            </p:cNvPr>
            <p:cNvSpPr/>
            <p:nvPr/>
          </p:nvSpPr>
          <p:spPr>
            <a:xfrm>
              <a:off x="3602267" y="2122974"/>
              <a:ext cx="1939468" cy="1939467"/>
            </a:xfrm>
            <a:custGeom>
              <a:avLst/>
              <a:gdLst>
                <a:gd name="connsiteX0" fmla="*/ 1010474 w 2020948"/>
                <a:gd name="connsiteY0" fmla="*/ 0 h 2020948"/>
                <a:gd name="connsiteX1" fmla="*/ 2020948 w 2020948"/>
                <a:gd name="connsiteY1" fmla="*/ 1010474 h 2020948"/>
                <a:gd name="connsiteX2" fmla="*/ 1010474 w 2020948"/>
                <a:gd name="connsiteY2" fmla="*/ 2020948 h 2020948"/>
                <a:gd name="connsiteX3" fmla="*/ 0 w 2020948"/>
                <a:gd name="connsiteY3" fmla="*/ 1010474 h 2020948"/>
                <a:gd name="connsiteX4" fmla="*/ 1010474 w 2020948"/>
                <a:gd name="connsiteY4" fmla="*/ 0 h 2020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948" h="2020948">
                  <a:moveTo>
                    <a:pt x="1010474" y="0"/>
                  </a:moveTo>
                  <a:cubicBezTo>
                    <a:pt x="1568543" y="0"/>
                    <a:pt x="2020948" y="452405"/>
                    <a:pt x="2020948" y="1010474"/>
                  </a:cubicBezTo>
                  <a:cubicBezTo>
                    <a:pt x="2020948" y="1568543"/>
                    <a:pt x="1568543" y="2020948"/>
                    <a:pt x="1010474" y="2020948"/>
                  </a:cubicBezTo>
                  <a:cubicBezTo>
                    <a:pt x="452405" y="2020948"/>
                    <a:pt x="0" y="1568543"/>
                    <a:pt x="0" y="1010474"/>
                  </a:cubicBezTo>
                  <a:cubicBezTo>
                    <a:pt x="0" y="452405"/>
                    <a:pt x="452405" y="0"/>
                    <a:pt x="1010474" y="0"/>
                  </a:cubicBezTo>
                  <a:close/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id="{41267B3C-1E80-738F-02FB-4564EBEA9FD9}"/>
                </a:ext>
              </a:extLst>
            </p:cNvPr>
            <p:cNvSpPr/>
            <p:nvPr/>
          </p:nvSpPr>
          <p:spPr>
            <a:xfrm>
              <a:off x="3810000" y="2330707"/>
              <a:ext cx="1524000" cy="1524000"/>
            </a:xfrm>
            <a:custGeom>
              <a:avLst/>
              <a:gdLst>
                <a:gd name="connsiteX0" fmla="*/ 1010474 w 2020948"/>
                <a:gd name="connsiteY0" fmla="*/ 0 h 2020948"/>
                <a:gd name="connsiteX1" fmla="*/ 2020948 w 2020948"/>
                <a:gd name="connsiteY1" fmla="*/ 1010474 h 2020948"/>
                <a:gd name="connsiteX2" fmla="*/ 1010474 w 2020948"/>
                <a:gd name="connsiteY2" fmla="*/ 2020948 h 2020948"/>
                <a:gd name="connsiteX3" fmla="*/ 0 w 2020948"/>
                <a:gd name="connsiteY3" fmla="*/ 1010474 h 2020948"/>
                <a:gd name="connsiteX4" fmla="*/ 1010474 w 2020948"/>
                <a:gd name="connsiteY4" fmla="*/ 0 h 2020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948" h="2020948">
                  <a:moveTo>
                    <a:pt x="1010474" y="0"/>
                  </a:moveTo>
                  <a:cubicBezTo>
                    <a:pt x="1568543" y="0"/>
                    <a:pt x="2020948" y="452405"/>
                    <a:pt x="2020948" y="1010474"/>
                  </a:cubicBezTo>
                  <a:cubicBezTo>
                    <a:pt x="2020948" y="1568543"/>
                    <a:pt x="1568543" y="2020948"/>
                    <a:pt x="1010474" y="2020948"/>
                  </a:cubicBezTo>
                  <a:cubicBezTo>
                    <a:pt x="452405" y="2020948"/>
                    <a:pt x="0" y="1568543"/>
                    <a:pt x="0" y="1010474"/>
                  </a:cubicBezTo>
                  <a:cubicBezTo>
                    <a:pt x="0" y="452405"/>
                    <a:pt x="452405" y="0"/>
                    <a:pt x="101047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D5D0771C-D937-46DC-FFDD-3E14A41EA001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0402" y="2668183"/>
            <a:ext cx="3132010" cy="2907924"/>
          </a:xfrm>
          <a:prstGeom prst="rect">
            <a:avLst/>
          </a:prstGeom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80CCD60-BFAF-CE0D-499A-7A55F2735A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5" imgH="426" progId="TCLayout.ActiveDocument.1">
                  <p:embed/>
                </p:oleObj>
              </mc:Choice>
              <mc:Fallback>
                <p:oleObj name="think-cell Slide" r:id="rId12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0CCD60-BFAF-CE0D-499A-7A55F2735A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87A866-28C8-85A4-3457-5BB447C0C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B280441-FE96-FC28-1A30-8DB9B52F7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8 Infographic</a:t>
            </a:r>
          </a:p>
        </p:txBody>
      </p:sp>
      <p:sp>
        <p:nvSpPr>
          <p:cNvPr id="5" name="Freeform 2">
            <a:extLst>
              <a:ext uri="{FF2B5EF4-FFF2-40B4-BE49-F238E27FC236}">
                <a16:creationId xmlns:a16="http://schemas.microsoft.com/office/drawing/2014/main" id="{2DC4D14E-9ED0-85B7-3496-77FF6CAEC9D9}"/>
              </a:ext>
            </a:extLst>
          </p:cNvPr>
          <p:cNvSpPr/>
          <p:nvPr/>
        </p:nvSpPr>
        <p:spPr>
          <a:xfrm flipH="1">
            <a:off x="6975724" y="3129427"/>
            <a:ext cx="710964" cy="517988"/>
          </a:xfrm>
          <a:custGeom>
            <a:avLst/>
            <a:gdLst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89000" h="647700">
                <a:moveTo>
                  <a:pt x="889000" y="647700"/>
                </a:moveTo>
                <a:cubicBezTo>
                  <a:pt x="770467" y="431800"/>
                  <a:pt x="639233" y="95250"/>
                  <a:pt x="0" y="0"/>
                </a:cubicBezTo>
              </a:path>
            </a:pathLst>
          </a:cu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E3F33234-9C22-E360-D42C-6A960584575C}"/>
              </a:ext>
            </a:extLst>
          </p:cNvPr>
          <p:cNvSpPr/>
          <p:nvPr/>
        </p:nvSpPr>
        <p:spPr>
          <a:xfrm flipH="1" flipV="1">
            <a:off x="6975724" y="4726049"/>
            <a:ext cx="834776" cy="517988"/>
          </a:xfrm>
          <a:custGeom>
            <a:avLst/>
            <a:gdLst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89000" h="647700">
                <a:moveTo>
                  <a:pt x="889000" y="647700"/>
                </a:moveTo>
                <a:cubicBezTo>
                  <a:pt x="770467" y="431800"/>
                  <a:pt x="639233" y="95250"/>
                  <a:pt x="0" y="0"/>
                </a:cubicBezTo>
              </a:path>
            </a:pathLst>
          </a:cu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01A9CB8-AB1D-8F76-4A47-10F0D0FC61DD}"/>
              </a:ext>
            </a:extLst>
          </p:cNvPr>
          <p:cNvCxnSpPr>
            <a:cxnSpLocks/>
          </p:cNvCxnSpPr>
          <p:nvPr/>
        </p:nvCxnSpPr>
        <p:spPr>
          <a:xfrm flipH="1">
            <a:off x="7146964" y="4187752"/>
            <a:ext cx="688936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reeform 5">
            <a:extLst>
              <a:ext uri="{FF2B5EF4-FFF2-40B4-BE49-F238E27FC236}">
                <a16:creationId xmlns:a16="http://schemas.microsoft.com/office/drawing/2014/main" id="{94A78D55-8450-DB35-E6FC-30540681B416}"/>
              </a:ext>
            </a:extLst>
          </p:cNvPr>
          <p:cNvSpPr/>
          <p:nvPr/>
        </p:nvSpPr>
        <p:spPr>
          <a:xfrm>
            <a:off x="4635227" y="3129427"/>
            <a:ext cx="710964" cy="517988"/>
          </a:xfrm>
          <a:custGeom>
            <a:avLst/>
            <a:gdLst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89000" h="647700">
                <a:moveTo>
                  <a:pt x="889000" y="647700"/>
                </a:moveTo>
                <a:cubicBezTo>
                  <a:pt x="770467" y="431800"/>
                  <a:pt x="639233" y="95250"/>
                  <a:pt x="0" y="0"/>
                </a:cubicBezTo>
              </a:path>
            </a:pathLst>
          </a:cu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BDFAD9F5-A4D0-52EE-686F-C1BC4FA31068}"/>
              </a:ext>
            </a:extLst>
          </p:cNvPr>
          <p:cNvSpPr/>
          <p:nvPr/>
        </p:nvSpPr>
        <p:spPr>
          <a:xfrm flipV="1">
            <a:off x="4635227" y="4726049"/>
            <a:ext cx="710964" cy="517988"/>
          </a:xfrm>
          <a:custGeom>
            <a:avLst/>
            <a:gdLst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89000" h="647700">
                <a:moveTo>
                  <a:pt x="889000" y="647700"/>
                </a:moveTo>
                <a:cubicBezTo>
                  <a:pt x="770467" y="431800"/>
                  <a:pt x="639233" y="95250"/>
                  <a:pt x="0" y="0"/>
                </a:cubicBezTo>
              </a:path>
            </a:pathLst>
          </a:cu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D8DA063-33A4-BD32-E1C0-358A34B353ED}"/>
              </a:ext>
            </a:extLst>
          </p:cNvPr>
          <p:cNvCxnSpPr/>
          <p:nvPr/>
        </p:nvCxnSpPr>
        <p:spPr>
          <a:xfrm>
            <a:off x="4648433" y="4186228"/>
            <a:ext cx="526520" cy="1524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56C128A6-02C0-14CC-AB7F-FFF293D559F9}"/>
              </a:ext>
            </a:extLst>
          </p:cNvPr>
          <p:cNvSpPr/>
          <p:nvPr/>
        </p:nvSpPr>
        <p:spPr bwMode="auto">
          <a:xfrm>
            <a:off x="4031722" y="2811322"/>
            <a:ext cx="617927" cy="617927"/>
          </a:xfrm>
          <a:prstGeom prst="ellipse">
            <a:avLst/>
          </a:prstGeom>
          <a:solidFill>
            <a:schemeClr val="accent3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6F2C835-4FEF-C2F9-8272-67624D90E1F7}"/>
              </a:ext>
            </a:extLst>
          </p:cNvPr>
          <p:cNvSpPr/>
          <p:nvPr/>
        </p:nvSpPr>
        <p:spPr bwMode="auto">
          <a:xfrm flipV="1">
            <a:off x="4031722" y="4944215"/>
            <a:ext cx="617927" cy="617927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rtl="0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83DADEB-0FA4-0B2F-78ED-BBADD8067B94}"/>
              </a:ext>
            </a:extLst>
          </p:cNvPr>
          <p:cNvSpPr/>
          <p:nvPr/>
        </p:nvSpPr>
        <p:spPr bwMode="auto">
          <a:xfrm flipH="1" flipV="1">
            <a:off x="7672267" y="2797915"/>
            <a:ext cx="617927" cy="617927"/>
          </a:xfrm>
          <a:prstGeom prst="ellipse">
            <a:avLst/>
          </a:prstGeom>
          <a:solidFill>
            <a:schemeClr val="accent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rtl="0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35A80EE-E78C-F659-4E36-DE8DC58CC198}"/>
              </a:ext>
            </a:extLst>
          </p:cNvPr>
          <p:cNvSpPr/>
          <p:nvPr/>
        </p:nvSpPr>
        <p:spPr bwMode="auto">
          <a:xfrm flipV="1">
            <a:off x="4031722" y="3878026"/>
            <a:ext cx="617927" cy="617927"/>
          </a:xfrm>
          <a:prstGeom prst="ellipse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rtl="0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7874B31-8458-5BCE-3B2F-6F1359ACB055}"/>
              </a:ext>
            </a:extLst>
          </p:cNvPr>
          <p:cNvSpPr txBox="1"/>
          <p:nvPr/>
        </p:nvSpPr>
        <p:spPr>
          <a:xfrm>
            <a:off x="1570616" y="1496951"/>
            <a:ext cx="2338103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84EE9E0-BD6E-73DD-46FF-7E8615BB9E01}"/>
              </a:ext>
            </a:extLst>
          </p:cNvPr>
          <p:cNvSpPr txBox="1"/>
          <p:nvPr/>
        </p:nvSpPr>
        <p:spPr>
          <a:xfrm>
            <a:off x="8349905" y="4806612"/>
            <a:ext cx="2547591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2">
                    <a:lumMod val="75000"/>
                  </a:schemeClr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>
                    <a:lumMod val="75000"/>
                  </a:schemeClr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010E620-34E8-3C88-3FC6-CC7CA524447C}"/>
              </a:ext>
            </a:extLst>
          </p:cNvPr>
          <p:cNvSpPr txBox="1"/>
          <p:nvPr/>
        </p:nvSpPr>
        <p:spPr>
          <a:xfrm>
            <a:off x="8349905" y="3678832"/>
            <a:ext cx="2547591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1">
                    <a:lumMod val="75000"/>
                  </a:schemeClr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C02FE24-5A77-DAC6-1573-BB3E3C2CB372}"/>
              </a:ext>
            </a:extLst>
          </p:cNvPr>
          <p:cNvSpPr txBox="1"/>
          <p:nvPr/>
        </p:nvSpPr>
        <p:spPr>
          <a:xfrm>
            <a:off x="1570616" y="3678832"/>
            <a:ext cx="2338103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BB37562-9136-66B7-9124-B9BA3BDACC20}"/>
              </a:ext>
            </a:extLst>
          </p:cNvPr>
          <p:cNvSpPr txBox="1"/>
          <p:nvPr/>
        </p:nvSpPr>
        <p:spPr>
          <a:xfrm>
            <a:off x="1570616" y="4806612"/>
            <a:ext cx="2338103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8A75574-5CC4-9390-1435-A7E8F5CFCBAA}"/>
              </a:ext>
            </a:extLst>
          </p:cNvPr>
          <p:cNvSpPr txBox="1"/>
          <p:nvPr/>
        </p:nvSpPr>
        <p:spPr>
          <a:xfrm>
            <a:off x="1570616" y="2551051"/>
            <a:ext cx="2338103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grpSp>
        <p:nvGrpSpPr>
          <p:cNvPr id="25" name="ZenIcon1">
            <a:extLst>
              <a:ext uri="{FF2B5EF4-FFF2-40B4-BE49-F238E27FC236}">
                <a16:creationId xmlns:a16="http://schemas.microsoft.com/office/drawing/2014/main" id="{5D42B880-00F3-369B-3721-C45B2207328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160330" y="5082348"/>
            <a:ext cx="360710" cy="360710"/>
            <a:chOff x="5712408" y="975680"/>
            <a:chExt cx="671729" cy="639391"/>
          </a:xfrm>
        </p:grpSpPr>
        <p:sp>
          <p:nvSpPr>
            <p:cNvPr id="26" name="Freeform 26">
              <a:extLst>
                <a:ext uri="{FF2B5EF4-FFF2-40B4-BE49-F238E27FC236}">
                  <a16:creationId xmlns:a16="http://schemas.microsoft.com/office/drawing/2014/main" id="{9DCA49D2-C62D-3079-D59F-9D6DA9B42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7" name="Freeform 27">
              <a:extLst>
                <a:ext uri="{FF2B5EF4-FFF2-40B4-BE49-F238E27FC236}">
                  <a16:creationId xmlns:a16="http://schemas.microsoft.com/office/drawing/2014/main" id="{CC6BB789-FB90-6524-C8DB-31606C29F1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8" name="Freeform 28">
              <a:extLst>
                <a:ext uri="{FF2B5EF4-FFF2-40B4-BE49-F238E27FC236}">
                  <a16:creationId xmlns:a16="http://schemas.microsoft.com/office/drawing/2014/main" id="{214D624B-24E7-127F-2909-F8AD7695F1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9" name="Freeform 29">
              <a:extLst>
                <a:ext uri="{FF2B5EF4-FFF2-40B4-BE49-F238E27FC236}">
                  <a16:creationId xmlns:a16="http://schemas.microsoft.com/office/drawing/2014/main" id="{C62D913F-60EE-A399-70DF-3DB61C164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0" name="Freeform 30">
              <a:extLst>
                <a:ext uri="{FF2B5EF4-FFF2-40B4-BE49-F238E27FC236}">
                  <a16:creationId xmlns:a16="http://schemas.microsoft.com/office/drawing/2014/main" id="{60857E00-B23D-965B-424B-CBB8F759C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1" name="Freeform 31">
              <a:extLst>
                <a:ext uri="{FF2B5EF4-FFF2-40B4-BE49-F238E27FC236}">
                  <a16:creationId xmlns:a16="http://schemas.microsoft.com/office/drawing/2014/main" id="{D0515DDD-F959-E048-6972-F54AFEDFF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32" name="ZenIcon2">
            <a:extLst>
              <a:ext uri="{FF2B5EF4-FFF2-40B4-BE49-F238E27FC236}">
                <a16:creationId xmlns:a16="http://schemas.microsoft.com/office/drawing/2014/main" id="{C77BE42B-9744-889E-FBAB-203BF8A49366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7808561" y="2937066"/>
            <a:ext cx="316264" cy="316264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33" name="ZenIcon4">
            <a:extLst>
              <a:ext uri="{FF2B5EF4-FFF2-40B4-BE49-F238E27FC236}">
                <a16:creationId xmlns:a16="http://schemas.microsoft.com/office/drawing/2014/main" id="{C9C94D62-8B47-7A6C-B6AC-96B01485E633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4165369" y="2944969"/>
            <a:ext cx="350632" cy="350632"/>
            <a:chOff x="-4769427" y="-314325"/>
            <a:chExt cx="4660901" cy="4576762"/>
          </a:xfrm>
        </p:grpSpPr>
        <p:sp>
          <p:nvSpPr>
            <p:cNvPr id="34" name="Freeform 23">
              <a:extLst>
                <a:ext uri="{FF2B5EF4-FFF2-40B4-BE49-F238E27FC236}">
                  <a16:creationId xmlns:a16="http://schemas.microsoft.com/office/drawing/2014/main" id="{9F2F4D45-723D-2CE1-430B-15A67F705B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4">
              <a:extLst>
                <a:ext uri="{FF2B5EF4-FFF2-40B4-BE49-F238E27FC236}">
                  <a16:creationId xmlns:a16="http://schemas.microsoft.com/office/drawing/2014/main" id="{EE1143EC-F22B-8671-66A5-4700FFE83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E46AA112-2203-5C3D-6E56-C5F3CB789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FBEA6233-15BF-3D91-A8CB-926993F49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47786B12-FE68-2728-8646-E505C4789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0828EBC8-52BE-68CA-2C89-AE474FF8E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ZenIcon1">
            <a:extLst>
              <a:ext uri="{FF2B5EF4-FFF2-40B4-BE49-F238E27FC236}">
                <a16:creationId xmlns:a16="http://schemas.microsoft.com/office/drawing/2014/main" id="{6D58C530-7AEB-346A-FDC9-422E7984FFA3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4166518" y="4021434"/>
            <a:ext cx="322932" cy="322932"/>
            <a:chOff x="5712408" y="975680"/>
            <a:chExt cx="671729" cy="639391"/>
          </a:xfrm>
        </p:grpSpPr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B327D5F4-31C6-E743-81EB-4581C89C4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0DA37176-4C40-9510-0C89-EE0503CE0B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3" name="Freeform 28">
              <a:extLst>
                <a:ext uri="{FF2B5EF4-FFF2-40B4-BE49-F238E27FC236}">
                  <a16:creationId xmlns:a16="http://schemas.microsoft.com/office/drawing/2014/main" id="{7C76F7E1-F18D-B4A8-2B35-0AC2404FAF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4" name="Freeform 29">
              <a:extLst>
                <a:ext uri="{FF2B5EF4-FFF2-40B4-BE49-F238E27FC236}">
                  <a16:creationId xmlns:a16="http://schemas.microsoft.com/office/drawing/2014/main" id="{FDFB0DC6-08F8-15FA-087D-08B59A5AA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5" name="Freeform 30">
              <a:extLst>
                <a:ext uri="{FF2B5EF4-FFF2-40B4-BE49-F238E27FC236}">
                  <a16:creationId xmlns:a16="http://schemas.microsoft.com/office/drawing/2014/main" id="{6600D485-58C1-FADF-2233-0EE822D0C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6" name="Freeform 31">
              <a:extLst>
                <a:ext uri="{FF2B5EF4-FFF2-40B4-BE49-F238E27FC236}">
                  <a16:creationId xmlns:a16="http://schemas.microsoft.com/office/drawing/2014/main" id="{222CF0BD-6C50-E2BE-A57B-93D086BD8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47" name="Freeform 2">
            <a:extLst>
              <a:ext uri="{FF2B5EF4-FFF2-40B4-BE49-F238E27FC236}">
                <a16:creationId xmlns:a16="http://schemas.microsoft.com/office/drawing/2014/main" id="{0A80C6AD-C15A-5D1C-6057-515BF9832C90}"/>
              </a:ext>
            </a:extLst>
          </p:cNvPr>
          <p:cNvSpPr/>
          <p:nvPr/>
        </p:nvSpPr>
        <p:spPr>
          <a:xfrm flipH="1">
            <a:off x="6603158" y="1988457"/>
            <a:ext cx="1456096" cy="1349828"/>
          </a:xfrm>
          <a:custGeom>
            <a:avLst/>
            <a:gdLst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89000" h="647700">
                <a:moveTo>
                  <a:pt x="889000" y="647700"/>
                </a:moveTo>
                <a:cubicBezTo>
                  <a:pt x="770467" y="431800"/>
                  <a:pt x="639233" y="95250"/>
                  <a:pt x="0" y="0"/>
                </a:cubicBezTo>
              </a:path>
            </a:pathLst>
          </a:cu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reeform 5">
            <a:extLst>
              <a:ext uri="{FF2B5EF4-FFF2-40B4-BE49-F238E27FC236}">
                <a16:creationId xmlns:a16="http://schemas.microsoft.com/office/drawing/2014/main" id="{E8AA49EE-8747-A866-2371-D75E3F6311E7}"/>
              </a:ext>
            </a:extLst>
          </p:cNvPr>
          <p:cNvSpPr/>
          <p:nvPr/>
        </p:nvSpPr>
        <p:spPr>
          <a:xfrm>
            <a:off x="4262661" y="1988457"/>
            <a:ext cx="1456096" cy="1349828"/>
          </a:xfrm>
          <a:custGeom>
            <a:avLst/>
            <a:gdLst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89000" h="647700">
                <a:moveTo>
                  <a:pt x="889000" y="647700"/>
                </a:moveTo>
                <a:cubicBezTo>
                  <a:pt x="770467" y="431800"/>
                  <a:pt x="639233" y="95250"/>
                  <a:pt x="0" y="0"/>
                </a:cubicBezTo>
              </a:path>
            </a:pathLst>
          </a:cu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4BD1FE7B-75B7-A1E5-9C86-AB2A98D384F5}"/>
              </a:ext>
            </a:extLst>
          </p:cNvPr>
          <p:cNvGrpSpPr/>
          <p:nvPr/>
        </p:nvGrpSpPr>
        <p:grpSpPr>
          <a:xfrm>
            <a:off x="4031722" y="1642922"/>
            <a:ext cx="617927" cy="617927"/>
            <a:chOff x="7672267" y="2811322"/>
            <a:chExt cx="617927" cy="61792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7505A3CF-442A-BE1A-49BC-BFA495F9DA05}"/>
                </a:ext>
              </a:extLst>
            </p:cNvPr>
            <p:cNvSpPr/>
            <p:nvPr/>
          </p:nvSpPr>
          <p:spPr bwMode="auto">
            <a:xfrm flipH="1">
              <a:off x="7672267" y="2811322"/>
              <a:ext cx="617927" cy="617927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1" name="ZenIcon2">
              <a:extLst>
                <a:ext uri="{FF2B5EF4-FFF2-40B4-BE49-F238E27FC236}">
                  <a16:creationId xmlns:a16="http://schemas.microsoft.com/office/drawing/2014/main" id="{B7866919-2D6F-345F-6E7A-7316C17E725C}"/>
                </a:ext>
              </a:extLst>
            </p:cNvPr>
            <p:cNvSpPr>
              <a:spLocks noChangeAspect="1"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7826554" y="2942885"/>
              <a:ext cx="323774" cy="323774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1FAA1D7-9E97-54AD-DA01-6974521A8840}"/>
              </a:ext>
            </a:extLst>
          </p:cNvPr>
          <p:cNvGrpSpPr/>
          <p:nvPr/>
        </p:nvGrpSpPr>
        <p:grpSpPr>
          <a:xfrm>
            <a:off x="7672267" y="1693626"/>
            <a:ext cx="617927" cy="617927"/>
            <a:chOff x="7672267" y="3878026"/>
            <a:chExt cx="617927" cy="617927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06D341E9-307B-F30C-924C-F148818C1783}"/>
                </a:ext>
              </a:extLst>
            </p:cNvPr>
            <p:cNvSpPr/>
            <p:nvPr/>
          </p:nvSpPr>
          <p:spPr bwMode="auto">
            <a:xfrm flipH="1" flipV="1">
              <a:off x="7672267" y="3878026"/>
              <a:ext cx="617927" cy="617927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rtl="0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4" name="ZenIcon3">
              <a:extLst>
                <a:ext uri="{FF2B5EF4-FFF2-40B4-BE49-F238E27FC236}">
                  <a16:creationId xmlns:a16="http://schemas.microsoft.com/office/drawing/2014/main" id="{A759DC12-38DF-9CC4-B4D9-CFD1F89D76EE}"/>
                </a:ext>
              </a:extLst>
            </p:cNvPr>
            <p:cNvSpPr>
              <a:spLocks noChangeAspect="1"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7822978" y="4023257"/>
              <a:ext cx="317722" cy="318514"/>
            </a:xfrm>
            <a:custGeom>
              <a:avLst/>
              <a:gdLst>
                <a:gd name="T0" fmla="*/ 1698 w 2448"/>
                <a:gd name="T1" fmla="*/ 97 h 2446"/>
                <a:gd name="T2" fmla="*/ 748 w 2448"/>
                <a:gd name="T3" fmla="*/ 97 h 2446"/>
                <a:gd name="T4" fmla="*/ 0 w 2448"/>
                <a:gd name="T5" fmla="*/ 1222 h 2446"/>
                <a:gd name="T6" fmla="*/ 748 w 2448"/>
                <a:gd name="T7" fmla="*/ 2349 h 2446"/>
                <a:gd name="T8" fmla="*/ 1698 w 2448"/>
                <a:gd name="T9" fmla="*/ 2349 h 2446"/>
                <a:gd name="T10" fmla="*/ 2448 w 2448"/>
                <a:gd name="T11" fmla="*/ 1222 h 2446"/>
                <a:gd name="T12" fmla="*/ 816 w 2448"/>
                <a:gd name="T13" fmla="*/ 227 h 2446"/>
                <a:gd name="T14" fmla="*/ 264 w 2448"/>
                <a:gd name="T15" fmla="*/ 737 h 2446"/>
                <a:gd name="T16" fmla="*/ 149 w 2448"/>
                <a:gd name="T17" fmla="*/ 1222 h 2446"/>
                <a:gd name="T18" fmla="*/ 554 w 2448"/>
                <a:gd name="T19" fmla="*/ 884 h 2446"/>
                <a:gd name="T20" fmla="*/ 554 w 2448"/>
                <a:gd name="T21" fmla="*/ 1556 h 2446"/>
                <a:gd name="T22" fmla="*/ 149 w 2448"/>
                <a:gd name="T23" fmla="*/ 1222 h 2446"/>
                <a:gd name="T24" fmla="*/ 584 w 2448"/>
                <a:gd name="T25" fmla="*/ 1704 h 2446"/>
                <a:gd name="T26" fmla="*/ 264 w 2448"/>
                <a:gd name="T27" fmla="*/ 1704 h 2446"/>
                <a:gd name="T28" fmla="*/ 906 w 2448"/>
                <a:gd name="T29" fmla="*/ 2092 h 2446"/>
                <a:gd name="T30" fmla="*/ 1148 w 2448"/>
                <a:gd name="T31" fmla="*/ 1704 h 2446"/>
                <a:gd name="T32" fmla="*/ 1148 w 2448"/>
                <a:gd name="T33" fmla="*/ 1556 h 2446"/>
                <a:gd name="T34" fmla="*/ 677 w 2448"/>
                <a:gd name="T35" fmla="*/ 1222 h 2446"/>
                <a:gd name="T36" fmla="*/ 1148 w 2448"/>
                <a:gd name="T37" fmla="*/ 884 h 2446"/>
                <a:gd name="T38" fmla="*/ 1148 w 2448"/>
                <a:gd name="T39" fmla="*/ 737 h 2446"/>
                <a:gd name="T40" fmla="*/ 909 w 2448"/>
                <a:gd name="T41" fmla="*/ 353 h 2446"/>
                <a:gd name="T42" fmla="*/ 1148 w 2448"/>
                <a:gd name="T43" fmla="*/ 737 h 2446"/>
                <a:gd name="T44" fmla="*/ 1864 w 2448"/>
                <a:gd name="T45" fmla="*/ 737 h 2446"/>
                <a:gd name="T46" fmla="*/ 2184 w 2448"/>
                <a:gd name="T47" fmla="*/ 737 h 2446"/>
                <a:gd name="T48" fmla="*/ 1539 w 2448"/>
                <a:gd name="T49" fmla="*/ 353 h 2446"/>
                <a:gd name="T50" fmla="*/ 1300 w 2448"/>
                <a:gd name="T51" fmla="*/ 737 h 2446"/>
                <a:gd name="T52" fmla="*/ 1300 w 2448"/>
                <a:gd name="T53" fmla="*/ 884 h 2446"/>
                <a:gd name="T54" fmla="*/ 1771 w 2448"/>
                <a:gd name="T55" fmla="*/ 1222 h 2446"/>
                <a:gd name="T56" fmla="*/ 1300 w 2448"/>
                <a:gd name="T57" fmla="*/ 1556 h 2446"/>
                <a:gd name="T58" fmla="*/ 1300 w 2448"/>
                <a:gd name="T59" fmla="*/ 2286 h 2446"/>
                <a:gd name="T60" fmla="*/ 1711 w 2448"/>
                <a:gd name="T61" fmla="*/ 1704 h 2446"/>
                <a:gd name="T62" fmla="*/ 1300 w 2448"/>
                <a:gd name="T63" fmla="*/ 2286 h 2446"/>
                <a:gd name="T64" fmla="*/ 1864 w 2448"/>
                <a:gd name="T65" fmla="*/ 1704 h 2446"/>
                <a:gd name="T66" fmla="*/ 1632 w 2448"/>
                <a:gd name="T67" fmla="*/ 2219 h 2446"/>
                <a:gd name="T68" fmla="*/ 1894 w 2448"/>
                <a:gd name="T69" fmla="*/ 1556 h 2446"/>
                <a:gd name="T70" fmla="*/ 1894 w 2448"/>
                <a:gd name="T71" fmla="*/ 884 h 2446"/>
                <a:gd name="T72" fmla="*/ 2299 w 2448"/>
                <a:gd name="T73" fmla="*/ 1222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48" h="2446">
                  <a:moveTo>
                    <a:pt x="2350" y="747"/>
                  </a:moveTo>
                  <a:cubicBezTo>
                    <a:pt x="2221" y="446"/>
                    <a:pt x="2002" y="227"/>
                    <a:pt x="1698" y="97"/>
                  </a:cubicBezTo>
                  <a:cubicBezTo>
                    <a:pt x="1547" y="33"/>
                    <a:pt x="1389" y="0"/>
                    <a:pt x="1223" y="0"/>
                  </a:cubicBezTo>
                  <a:cubicBezTo>
                    <a:pt x="1057" y="0"/>
                    <a:pt x="900" y="32"/>
                    <a:pt x="748" y="97"/>
                  </a:cubicBezTo>
                  <a:cubicBezTo>
                    <a:pt x="447" y="226"/>
                    <a:pt x="226" y="445"/>
                    <a:pt x="96" y="747"/>
                  </a:cubicBezTo>
                  <a:cubicBezTo>
                    <a:pt x="32" y="898"/>
                    <a:pt x="0" y="1056"/>
                    <a:pt x="0" y="1222"/>
                  </a:cubicBezTo>
                  <a:cubicBezTo>
                    <a:pt x="0" y="1388"/>
                    <a:pt x="32" y="1547"/>
                    <a:pt x="96" y="1698"/>
                  </a:cubicBezTo>
                  <a:cubicBezTo>
                    <a:pt x="226" y="2000"/>
                    <a:pt x="447" y="2220"/>
                    <a:pt x="748" y="2349"/>
                  </a:cubicBezTo>
                  <a:cubicBezTo>
                    <a:pt x="900" y="2414"/>
                    <a:pt x="1057" y="2446"/>
                    <a:pt x="1223" y="2446"/>
                  </a:cubicBezTo>
                  <a:cubicBezTo>
                    <a:pt x="1389" y="2446"/>
                    <a:pt x="1547" y="2413"/>
                    <a:pt x="1698" y="2349"/>
                  </a:cubicBezTo>
                  <a:cubicBezTo>
                    <a:pt x="2002" y="2219"/>
                    <a:pt x="2221" y="1999"/>
                    <a:pt x="2350" y="1698"/>
                  </a:cubicBezTo>
                  <a:cubicBezTo>
                    <a:pt x="2415" y="1547"/>
                    <a:pt x="2448" y="1388"/>
                    <a:pt x="2448" y="1222"/>
                  </a:cubicBezTo>
                  <a:cubicBezTo>
                    <a:pt x="2448" y="1056"/>
                    <a:pt x="2415" y="898"/>
                    <a:pt x="2350" y="747"/>
                  </a:cubicBezTo>
                  <a:close/>
                  <a:moveTo>
                    <a:pt x="816" y="227"/>
                  </a:moveTo>
                  <a:cubicBezTo>
                    <a:pt x="711" y="361"/>
                    <a:pt x="633" y="531"/>
                    <a:pt x="584" y="737"/>
                  </a:cubicBezTo>
                  <a:cubicBezTo>
                    <a:pt x="264" y="737"/>
                    <a:pt x="264" y="737"/>
                    <a:pt x="264" y="737"/>
                  </a:cubicBezTo>
                  <a:cubicBezTo>
                    <a:pt x="381" y="508"/>
                    <a:pt x="580" y="325"/>
                    <a:pt x="816" y="227"/>
                  </a:cubicBezTo>
                  <a:close/>
                  <a:moveTo>
                    <a:pt x="149" y="1222"/>
                  </a:moveTo>
                  <a:cubicBezTo>
                    <a:pt x="149" y="1105"/>
                    <a:pt x="167" y="993"/>
                    <a:pt x="203" y="884"/>
                  </a:cubicBezTo>
                  <a:cubicBezTo>
                    <a:pt x="554" y="884"/>
                    <a:pt x="554" y="884"/>
                    <a:pt x="554" y="884"/>
                  </a:cubicBezTo>
                  <a:cubicBezTo>
                    <a:pt x="537" y="998"/>
                    <a:pt x="529" y="1111"/>
                    <a:pt x="529" y="1222"/>
                  </a:cubicBezTo>
                  <a:cubicBezTo>
                    <a:pt x="529" y="1331"/>
                    <a:pt x="537" y="1443"/>
                    <a:pt x="554" y="1556"/>
                  </a:cubicBezTo>
                  <a:cubicBezTo>
                    <a:pt x="201" y="1556"/>
                    <a:pt x="201" y="1556"/>
                    <a:pt x="201" y="1556"/>
                  </a:cubicBezTo>
                  <a:cubicBezTo>
                    <a:pt x="166" y="1448"/>
                    <a:pt x="149" y="1335"/>
                    <a:pt x="149" y="1222"/>
                  </a:cubicBezTo>
                  <a:close/>
                  <a:moveTo>
                    <a:pt x="264" y="1704"/>
                  </a:moveTo>
                  <a:cubicBezTo>
                    <a:pt x="584" y="1704"/>
                    <a:pt x="584" y="1704"/>
                    <a:pt x="584" y="1704"/>
                  </a:cubicBezTo>
                  <a:cubicBezTo>
                    <a:pt x="633" y="1914"/>
                    <a:pt x="711" y="2086"/>
                    <a:pt x="816" y="2219"/>
                  </a:cubicBezTo>
                  <a:cubicBezTo>
                    <a:pt x="576" y="2118"/>
                    <a:pt x="377" y="1935"/>
                    <a:pt x="264" y="1704"/>
                  </a:cubicBezTo>
                  <a:close/>
                  <a:moveTo>
                    <a:pt x="1148" y="2286"/>
                  </a:moveTo>
                  <a:cubicBezTo>
                    <a:pt x="1061" y="2260"/>
                    <a:pt x="980" y="2196"/>
                    <a:pt x="906" y="2092"/>
                  </a:cubicBezTo>
                  <a:cubicBezTo>
                    <a:pt x="833" y="1987"/>
                    <a:pt x="776" y="1857"/>
                    <a:pt x="737" y="1704"/>
                  </a:cubicBezTo>
                  <a:cubicBezTo>
                    <a:pt x="1148" y="1704"/>
                    <a:pt x="1148" y="1704"/>
                    <a:pt x="1148" y="1704"/>
                  </a:cubicBezTo>
                  <a:lnTo>
                    <a:pt x="1148" y="2286"/>
                  </a:lnTo>
                  <a:close/>
                  <a:moveTo>
                    <a:pt x="1148" y="1556"/>
                  </a:moveTo>
                  <a:cubicBezTo>
                    <a:pt x="704" y="1556"/>
                    <a:pt x="704" y="1556"/>
                    <a:pt x="704" y="1556"/>
                  </a:cubicBezTo>
                  <a:cubicBezTo>
                    <a:pt x="687" y="1437"/>
                    <a:pt x="677" y="1326"/>
                    <a:pt x="677" y="1222"/>
                  </a:cubicBezTo>
                  <a:cubicBezTo>
                    <a:pt x="677" y="1109"/>
                    <a:pt x="687" y="997"/>
                    <a:pt x="707" y="884"/>
                  </a:cubicBezTo>
                  <a:cubicBezTo>
                    <a:pt x="1148" y="884"/>
                    <a:pt x="1148" y="884"/>
                    <a:pt x="1148" y="884"/>
                  </a:cubicBezTo>
                  <a:cubicBezTo>
                    <a:pt x="1148" y="1556"/>
                    <a:pt x="1148" y="1556"/>
                    <a:pt x="1148" y="1556"/>
                  </a:cubicBezTo>
                  <a:close/>
                  <a:moveTo>
                    <a:pt x="1148" y="737"/>
                  </a:moveTo>
                  <a:cubicBezTo>
                    <a:pt x="737" y="737"/>
                    <a:pt x="737" y="737"/>
                    <a:pt x="737" y="737"/>
                  </a:cubicBezTo>
                  <a:cubicBezTo>
                    <a:pt x="779" y="585"/>
                    <a:pt x="836" y="456"/>
                    <a:pt x="909" y="353"/>
                  </a:cubicBezTo>
                  <a:cubicBezTo>
                    <a:pt x="983" y="249"/>
                    <a:pt x="1061" y="184"/>
                    <a:pt x="1148" y="160"/>
                  </a:cubicBezTo>
                  <a:cubicBezTo>
                    <a:pt x="1148" y="737"/>
                    <a:pt x="1148" y="737"/>
                    <a:pt x="1148" y="737"/>
                  </a:cubicBezTo>
                  <a:close/>
                  <a:moveTo>
                    <a:pt x="2184" y="737"/>
                  </a:moveTo>
                  <a:cubicBezTo>
                    <a:pt x="1864" y="737"/>
                    <a:pt x="1864" y="737"/>
                    <a:pt x="1864" y="737"/>
                  </a:cubicBezTo>
                  <a:cubicBezTo>
                    <a:pt x="1815" y="531"/>
                    <a:pt x="1737" y="361"/>
                    <a:pt x="1632" y="227"/>
                  </a:cubicBezTo>
                  <a:cubicBezTo>
                    <a:pt x="1868" y="325"/>
                    <a:pt x="2067" y="508"/>
                    <a:pt x="2184" y="737"/>
                  </a:cubicBezTo>
                  <a:close/>
                  <a:moveTo>
                    <a:pt x="1300" y="160"/>
                  </a:moveTo>
                  <a:cubicBezTo>
                    <a:pt x="1387" y="184"/>
                    <a:pt x="1465" y="249"/>
                    <a:pt x="1539" y="353"/>
                  </a:cubicBezTo>
                  <a:cubicBezTo>
                    <a:pt x="1613" y="456"/>
                    <a:pt x="1669" y="585"/>
                    <a:pt x="1711" y="737"/>
                  </a:cubicBezTo>
                  <a:cubicBezTo>
                    <a:pt x="1300" y="737"/>
                    <a:pt x="1300" y="737"/>
                    <a:pt x="1300" y="737"/>
                  </a:cubicBezTo>
                  <a:lnTo>
                    <a:pt x="1300" y="160"/>
                  </a:lnTo>
                  <a:close/>
                  <a:moveTo>
                    <a:pt x="1300" y="884"/>
                  </a:moveTo>
                  <a:cubicBezTo>
                    <a:pt x="1741" y="884"/>
                    <a:pt x="1741" y="884"/>
                    <a:pt x="1741" y="884"/>
                  </a:cubicBezTo>
                  <a:cubicBezTo>
                    <a:pt x="1761" y="997"/>
                    <a:pt x="1771" y="1109"/>
                    <a:pt x="1771" y="1222"/>
                  </a:cubicBezTo>
                  <a:cubicBezTo>
                    <a:pt x="1771" y="1326"/>
                    <a:pt x="1761" y="1437"/>
                    <a:pt x="1744" y="1556"/>
                  </a:cubicBezTo>
                  <a:cubicBezTo>
                    <a:pt x="1300" y="1556"/>
                    <a:pt x="1300" y="1556"/>
                    <a:pt x="1300" y="1556"/>
                  </a:cubicBezTo>
                  <a:lnTo>
                    <a:pt x="1300" y="884"/>
                  </a:lnTo>
                  <a:close/>
                  <a:moveTo>
                    <a:pt x="1300" y="2286"/>
                  </a:moveTo>
                  <a:cubicBezTo>
                    <a:pt x="1300" y="1704"/>
                    <a:pt x="1300" y="1704"/>
                    <a:pt x="1300" y="1704"/>
                  </a:cubicBezTo>
                  <a:cubicBezTo>
                    <a:pt x="1711" y="1704"/>
                    <a:pt x="1711" y="1704"/>
                    <a:pt x="1711" y="1704"/>
                  </a:cubicBezTo>
                  <a:cubicBezTo>
                    <a:pt x="1670" y="1857"/>
                    <a:pt x="1613" y="1987"/>
                    <a:pt x="1541" y="2092"/>
                  </a:cubicBezTo>
                  <a:cubicBezTo>
                    <a:pt x="1467" y="2197"/>
                    <a:pt x="1388" y="2262"/>
                    <a:pt x="1300" y="2286"/>
                  </a:cubicBezTo>
                  <a:close/>
                  <a:moveTo>
                    <a:pt x="1632" y="2219"/>
                  </a:moveTo>
                  <a:cubicBezTo>
                    <a:pt x="1737" y="2086"/>
                    <a:pt x="1815" y="1914"/>
                    <a:pt x="1864" y="1704"/>
                  </a:cubicBezTo>
                  <a:cubicBezTo>
                    <a:pt x="2184" y="1704"/>
                    <a:pt x="2184" y="1704"/>
                    <a:pt x="2184" y="1704"/>
                  </a:cubicBezTo>
                  <a:cubicBezTo>
                    <a:pt x="2071" y="1935"/>
                    <a:pt x="1872" y="2118"/>
                    <a:pt x="1632" y="2219"/>
                  </a:cubicBezTo>
                  <a:close/>
                  <a:moveTo>
                    <a:pt x="2247" y="1556"/>
                  </a:moveTo>
                  <a:cubicBezTo>
                    <a:pt x="1894" y="1556"/>
                    <a:pt x="1894" y="1556"/>
                    <a:pt x="1894" y="1556"/>
                  </a:cubicBezTo>
                  <a:cubicBezTo>
                    <a:pt x="1911" y="1443"/>
                    <a:pt x="1919" y="1331"/>
                    <a:pt x="1919" y="1222"/>
                  </a:cubicBezTo>
                  <a:cubicBezTo>
                    <a:pt x="1919" y="1111"/>
                    <a:pt x="1911" y="998"/>
                    <a:pt x="1894" y="884"/>
                  </a:cubicBezTo>
                  <a:cubicBezTo>
                    <a:pt x="2245" y="884"/>
                    <a:pt x="2245" y="884"/>
                    <a:pt x="2245" y="884"/>
                  </a:cubicBezTo>
                  <a:cubicBezTo>
                    <a:pt x="2281" y="993"/>
                    <a:pt x="2299" y="1105"/>
                    <a:pt x="2299" y="1222"/>
                  </a:cubicBezTo>
                  <a:cubicBezTo>
                    <a:pt x="2299" y="1335"/>
                    <a:pt x="2282" y="1448"/>
                    <a:pt x="2247" y="15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Oval 54">
            <a:extLst>
              <a:ext uri="{FF2B5EF4-FFF2-40B4-BE49-F238E27FC236}">
                <a16:creationId xmlns:a16="http://schemas.microsoft.com/office/drawing/2014/main" id="{775465C8-CCB6-719C-299A-1E2D47692C60}"/>
              </a:ext>
            </a:extLst>
          </p:cNvPr>
          <p:cNvSpPr/>
          <p:nvPr/>
        </p:nvSpPr>
        <p:spPr bwMode="auto">
          <a:xfrm flipH="1" flipV="1">
            <a:off x="7672267" y="3890115"/>
            <a:ext cx="617927" cy="617927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rtl="0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ZenIcon2">
            <a:extLst>
              <a:ext uri="{FF2B5EF4-FFF2-40B4-BE49-F238E27FC236}">
                <a16:creationId xmlns:a16="http://schemas.microsoft.com/office/drawing/2014/main" id="{688D541B-6DE3-7A2B-EECF-39D4699ED648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7808561" y="4029266"/>
            <a:ext cx="316264" cy="316264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FEC3B86-8D9B-E9A2-9964-6A406A210035}"/>
              </a:ext>
            </a:extLst>
          </p:cNvPr>
          <p:cNvGrpSpPr/>
          <p:nvPr/>
        </p:nvGrpSpPr>
        <p:grpSpPr>
          <a:xfrm>
            <a:off x="7672267" y="4944826"/>
            <a:ext cx="617927" cy="617927"/>
            <a:chOff x="7672267" y="3878026"/>
            <a:chExt cx="617927" cy="617927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8DA54E0-32BF-DE21-C44A-831FDAF062B4}"/>
                </a:ext>
              </a:extLst>
            </p:cNvPr>
            <p:cNvSpPr/>
            <p:nvPr/>
          </p:nvSpPr>
          <p:spPr bwMode="auto">
            <a:xfrm flipH="1" flipV="1">
              <a:off x="7672267" y="3878026"/>
              <a:ext cx="617927" cy="617927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rtl="0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9" name="ZenIcon3">
              <a:extLst>
                <a:ext uri="{FF2B5EF4-FFF2-40B4-BE49-F238E27FC236}">
                  <a16:creationId xmlns:a16="http://schemas.microsoft.com/office/drawing/2014/main" id="{F5B49B40-51EC-786F-95A4-372ECF813403}"/>
                </a:ext>
              </a:extLst>
            </p:cNvPr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7822978" y="4023257"/>
              <a:ext cx="317722" cy="318514"/>
            </a:xfrm>
            <a:custGeom>
              <a:avLst/>
              <a:gdLst>
                <a:gd name="T0" fmla="*/ 1698 w 2448"/>
                <a:gd name="T1" fmla="*/ 97 h 2446"/>
                <a:gd name="T2" fmla="*/ 748 w 2448"/>
                <a:gd name="T3" fmla="*/ 97 h 2446"/>
                <a:gd name="T4" fmla="*/ 0 w 2448"/>
                <a:gd name="T5" fmla="*/ 1222 h 2446"/>
                <a:gd name="T6" fmla="*/ 748 w 2448"/>
                <a:gd name="T7" fmla="*/ 2349 h 2446"/>
                <a:gd name="T8" fmla="*/ 1698 w 2448"/>
                <a:gd name="T9" fmla="*/ 2349 h 2446"/>
                <a:gd name="T10" fmla="*/ 2448 w 2448"/>
                <a:gd name="T11" fmla="*/ 1222 h 2446"/>
                <a:gd name="T12" fmla="*/ 816 w 2448"/>
                <a:gd name="T13" fmla="*/ 227 h 2446"/>
                <a:gd name="T14" fmla="*/ 264 w 2448"/>
                <a:gd name="T15" fmla="*/ 737 h 2446"/>
                <a:gd name="T16" fmla="*/ 149 w 2448"/>
                <a:gd name="T17" fmla="*/ 1222 h 2446"/>
                <a:gd name="T18" fmla="*/ 554 w 2448"/>
                <a:gd name="T19" fmla="*/ 884 h 2446"/>
                <a:gd name="T20" fmla="*/ 554 w 2448"/>
                <a:gd name="T21" fmla="*/ 1556 h 2446"/>
                <a:gd name="T22" fmla="*/ 149 w 2448"/>
                <a:gd name="T23" fmla="*/ 1222 h 2446"/>
                <a:gd name="T24" fmla="*/ 584 w 2448"/>
                <a:gd name="T25" fmla="*/ 1704 h 2446"/>
                <a:gd name="T26" fmla="*/ 264 w 2448"/>
                <a:gd name="T27" fmla="*/ 1704 h 2446"/>
                <a:gd name="T28" fmla="*/ 906 w 2448"/>
                <a:gd name="T29" fmla="*/ 2092 h 2446"/>
                <a:gd name="T30" fmla="*/ 1148 w 2448"/>
                <a:gd name="T31" fmla="*/ 1704 h 2446"/>
                <a:gd name="T32" fmla="*/ 1148 w 2448"/>
                <a:gd name="T33" fmla="*/ 1556 h 2446"/>
                <a:gd name="T34" fmla="*/ 677 w 2448"/>
                <a:gd name="T35" fmla="*/ 1222 h 2446"/>
                <a:gd name="T36" fmla="*/ 1148 w 2448"/>
                <a:gd name="T37" fmla="*/ 884 h 2446"/>
                <a:gd name="T38" fmla="*/ 1148 w 2448"/>
                <a:gd name="T39" fmla="*/ 737 h 2446"/>
                <a:gd name="T40" fmla="*/ 909 w 2448"/>
                <a:gd name="T41" fmla="*/ 353 h 2446"/>
                <a:gd name="T42" fmla="*/ 1148 w 2448"/>
                <a:gd name="T43" fmla="*/ 737 h 2446"/>
                <a:gd name="T44" fmla="*/ 1864 w 2448"/>
                <a:gd name="T45" fmla="*/ 737 h 2446"/>
                <a:gd name="T46" fmla="*/ 2184 w 2448"/>
                <a:gd name="T47" fmla="*/ 737 h 2446"/>
                <a:gd name="T48" fmla="*/ 1539 w 2448"/>
                <a:gd name="T49" fmla="*/ 353 h 2446"/>
                <a:gd name="T50" fmla="*/ 1300 w 2448"/>
                <a:gd name="T51" fmla="*/ 737 h 2446"/>
                <a:gd name="T52" fmla="*/ 1300 w 2448"/>
                <a:gd name="T53" fmla="*/ 884 h 2446"/>
                <a:gd name="T54" fmla="*/ 1771 w 2448"/>
                <a:gd name="T55" fmla="*/ 1222 h 2446"/>
                <a:gd name="T56" fmla="*/ 1300 w 2448"/>
                <a:gd name="T57" fmla="*/ 1556 h 2446"/>
                <a:gd name="T58" fmla="*/ 1300 w 2448"/>
                <a:gd name="T59" fmla="*/ 2286 h 2446"/>
                <a:gd name="T60" fmla="*/ 1711 w 2448"/>
                <a:gd name="T61" fmla="*/ 1704 h 2446"/>
                <a:gd name="T62" fmla="*/ 1300 w 2448"/>
                <a:gd name="T63" fmla="*/ 2286 h 2446"/>
                <a:gd name="T64" fmla="*/ 1864 w 2448"/>
                <a:gd name="T65" fmla="*/ 1704 h 2446"/>
                <a:gd name="T66" fmla="*/ 1632 w 2448"/>
                <a:gd name="T67" fmla="*/ 2219 h 2446"/>
                <a:gd name="T68" fmla="*/ 1894 w 2448"/>
                <a:gd name="T69" fmla="*/ 1556 h 2446"/>
                <a:gd name="T70" fmla="*/ 1894 w 2448"/>
                <a:gd name="T71" fmla="*/ 884 h 2446"/>
                <a:gd name="T72" fmla="*/ 2299 w 2448"/>
                <a:gd name="T73" fmla="*/ 1222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48" h="2446">
                  <a:moveTo>
                    <a:pt x="2350" y="747"/>
                  </a:moveTo>
                  <a:cubicBezTo>
                    <a:pt x="2221" y="446"/>
                    <a:pt x="2002" y="227"/>
                    <a:pt x="1698" y="97"/>
                  </a:cubicBezTo>
                  <a:cubicBezTo>
                    <a:pt x="1547" y="33"/>
                    <a:pt x="1389" y="0"/>
                    <a:pt x="1223" y="0"/>
                  </a:cubicBezTo>
                  <a:cubicBezTo>
                    <a:pt x="1057" y="0"/>
                    <a:pt x="900" y="32"/>
                    <a:pt x="748" y="97"/>
                  </a:cubicBezTo>
                  <a:cubicBezTo>
                    <a:pt x="447" y="226"/>
                    <a:pt x="226" y="445"/>
                    <a:pt x="96" y="747"/>
                  </a:cubicBezTo>
                  <a:cubicBezTo>
                    <a:pt x="32" y="898"/>
                    <a:pt x="0" y="1056"/>
                    <a:pt x="0" y="1222"/>
                  </a:cubicBezTo>
                  <a:cubicBezTo>
                    <a:pt x="0" y="1388"/>
                    <a:pt x="32" y="1547"/>
                    <a:pt x="96" y="1698"/>
                  </a:cubicBezTo>
                  <a:cubicBezTo>
                    <a:pt x="226" y="2000"/>
                    <a:pt x="447" y="2220"/>
                    <a:pt x="748" y="2349"/>
                  </a:cubicBezTo>
                  <a:cubicBezTo>
                    <a:pt x="900" y="2414"/>
                    <a:pt x="1057" y="2446"/>
                    <a:pt x="1223" y="2446"/>
                  </a:cubicBezTo>
                  <a:cubicBezTo>
                    <a:pt x="1389" y="2446"/>
                    <a:pt x="1547" y="2413"/>
                    <a:pt x="1698" y="2349"/>
                  </a:cubicBezTo>
                  <a:cubicBezTo>
                    <a:pt x="2002" y="2219"/>
                    <a:pt x="2221" y="1999"/>
                    <a:pt x="2350" y="1698"/>
                  </a:cubicBezTo>
                  <a:cubicBezTo>
                    <a:pt x="2415" y="1547"/>
                    <a:pt x="2448" y="1388"/>
                    <a:pt x="2448" y="1222"/>
                  </a:cubicBezTo>
                  <a:cubicBezTo>
                    <a:pt x="2448" y="1056"/>
                    <a:pt x="2415" y="898"/>
                    <a:pt x="2350" y="747"/>
                  </a:cubicBezTo>
                  <a:close/>
                  <a:moveTo>
                    <a:pt x="816" y="227"/>
                  </a:moveTo>
                  <a:cubicBezTo>
                    <a:pt x="711" y="361"/>
                    <a:pt x="633" y="531"/>
                    <a:pt x="584" y="737"/>
                  </a:cubicBezTo>
                  <a:cubicBezTo>
                    <a:pt x="264" y="737"/>
                    <a:pt x="264" y="737"/>
                    <a:pt x="264" y="737"/>
                  </a:cubicBezTo>
                  <a:cubicBezTo>
                    <a:pt x="381" y="508"/>
                    <a:pt x="580" y="325"/>
                    <a:pt x="816" y="227"/>
                  </a:cubicBezTo>
                  <a:close/>
                  <a:moveTo>
                    <a:pt x="149" y="1222"/>
                  </a:moveTo>
                  <a:cubicBezTo>
                    <a:pt x="149" y="1105"/>
                    <a:pt x="167" y="993"/>
                    <a:pt x="203" y="884"/>
                  </a:cubicBezTo>
                  <a:cubicBezTo>
                    <a:pt x="554" y="884"/>
                    <a:pt x="554" y="884"/>
                    <a:pt x="554" y="884"/>
                  </a:cubicBezTo>
                  <a:cubicBezTo>
                    <a:pt x="537" y="998"/>
                    <a:pt x="529" y="1111"/>
                    <a:pt x="529" y="1222"/>
                  </a:cubicBezTo>
                  <a:cubicBezTo>
                    <a:pt x="529" y="1331"/>
                    <a:pt x="537" y="1443"/>
                    <a:pt x="554" y="1556"/>
                  </a:cubicBezTo>
                  <a:cubicBezTo>
                    <a:pt x="201" y="1556"/>
                    <a:pt x="201" y="1556"/>
                    <a:pt x="201" y="1556"/>
                  </a:cubicBezTo>
                  <a:cubicBezTo>
                    <a:pt x="166" y="1448"/>
                    <a:pt x="149" y="1335"/>
                    <a:pt x="149" y="1222"/>
                  </a:cubicBezTo>
                  <a:close/>
                  <a:moveTo>
                    <a:pt x="264" y="1704"/>
                  </a:moveTo>
                  <a:cubicBezTo>
                    <a:pt x="584" y="1704"/>
                    <a:pt x="584" y="1704"/>
                    <a:pt x="584" y="1704"/>
                  </a:cubicBezTo>
                  <a:cubicBezTo>
                    <a:pt x="633" y="1914"/>
                    <a:pt x="711" y="2086"/>
                    <a:pt x="816" y="2219"/>
                  </a:cubicBezTo>
                  <a:cubicBezTo>
                    <a:pt x="576" y="2118"/>
                    <a:pt x="377" y="1935"/>
                    <a:pt x="264" y="1704"/>
                  </a:cubicBezTo>
                  <a:close/>
                  <a:moveTo>
                    <a:pt x="1148" y="2286"/>
                  </a:moveTo>
                  <a:cubicBezTo>
                    <a:pt x="1061" y="2260"/>
                    <a:pt x="980" y="2196"/>
                    <a:pt x="906" y="2092"/>
                  </a:cubicBezTo>
                  <a:cubicBezTo>
                    <a:pt x="833" y="1987"/>
                    <a:pt x="776" y="1857"/>
                    <a:pt x="737" y="1704"/>
                  </a:cubicBezTo>
                  <a:cubicBezTo>
                    <a:pt x="1148" y="1704"/>
                    <a:pt x="1148" y="1704"/>
                    <a:pt x="1148" y="1704"/>
                  </a:cubicBezTo>
                  <a:lnTo>
                    <a:pt x="1148" y="2286"/>
                  </a:lnTo>
                  <a:close/>
                  <a:moveTo>
                    <a:pt x="1148" y="1556"/>
                  </a:moveTo>
                  <a:cubicBezTo>
                    <a:pt x="704" y="1556"/>
                    <a:pt x="704" y="1556"/>
                    <a:pt x="704" y="1556"/>
                  </a:cubicBezTo>
                  <a:cubicBezTo>
                    <a:pt x="687" y="1437"/>
                    <a:pt x="677" y="1326"/>
                    <a:pt x="677" y="1222"/>
                  </a:cubicBezTo>
                  <a:cubicBezTo>
                    <a:pt x="677" y="1109"/>
                    <a:pt x="687" y="997"/>
                    <a:pt x="707" y="884"/>
                  </a:cubicBezTo>
                  <a:cubicBezTo>
                    <a:pt x="1148" y="884"/>
                    <a:pt x="1148" y="884"/>
                    <a:pt x="1148" y="884"/>
                  </a:cubicBezTo>
                  <a:cubicBezTo>
                    <a:pt x="1148" y="1556"/>
                    <a:pt x="1148" y="1556"/>
                    <a:pt x="1148" y="1556"/>
                  </a:cubicBezTo>
                  <a:close/>
                  <a:moveTo>
                    <a:pt x="1148" y="737"/>
                  </a:moveTo>
                  <a:cubicBezTo>
                    <a:pt x="737" y="737"/>
                    <a:pt x="737" y="737"/>
                    <a:pt x="737" y="737"/>
                  </a:cubicBezTo>
                  <a:cubicBezTo>
                    <a:pt x="779" y="585"/>
                    <a:pt x="836" y="456"/>
                    <a:pt x="909" y="353"/>
                  </a:cubicBezTo>
                  <a:cubicBezTo>
                    <a:pt x="983" y="249"/>
                    <a:pt x="1061" y="184"/>
                    <a:pt x="1148" y="160"/>
                  </a:cubicBezTo>
                  <a:cubicBezTo>
                    <a:pt x="1148" y="737"/>
                    <a:pt x="1148" y="737"/>
                    <a:pt x="1148" y="737"/>
                  </a:cubicBezTo>
                  <a:close/>
                  <a:moveTo>
                    <a:pt x="2184" y="737"/>
                  </a:moveTo>
                  <a:cubicBezTo>
                    <a:pt x="1864" y="737"/>
                    <a:pt x="1864" y="737"/>
                    <a:pt x="1864" y="737"/>
                  </a:cubicBezTo>
                  <a:cubicBezTo>
                    <a:pt x="1815" y="531"/>
                    <a:pt x="1737" y="361"/>
                    <a:pt x="1632" y="227"/>
                  </a:cubicBezTo>
                  <a:cubicBezTo>
                    <a:pt x="1868" y="325"/>
                    <a:pt x="2067" y="508"/>
                    <a:pt x="2184" y="737"/>
                  </a:cubicBezTo>
                  <a:close/>
                  <a:moveTo>
                    <a:pt x="1300" y="160"/>
                  </a:moveTo>
                  <a:cubicBezTo>
                    <a:pt x="1387" y="184"/>
                    <a:pt x="1465" y="249"/>
                    <a:pt x="1539" y="353"/>
                  </a:cubicBezTo>
                  <a:cubicBezTo>
                    <a:pt x="1613" y="456"/>
                    <a:pt x="1669" y="585"/>
                    <a:pt x="1711" y="737"/>
                  </a:cubicBezTo>
                  <a:cubicBezTo>
                    <a:pt x="1300" y="737"/>
                    <a:pt x="1300" y="737"/>
                    <a:pt x="1300" y="737"/>
                  </a:cubicBezTo>
                  <a:lnTo>
                    <a:pt x="1300" y="160"/>
                  </a:lnTo>
                  <a:close/>
                  <a:moveTo>
                    <a:pt x="1300" y="884"/>
                  </a:moveTo>
                  <a:cubicBezTo>
                    <a:pt x="1741" y="884"/>
                    <a:pt x="1741" y="884"/>
                    <a:pt x="1741" y="884"/>
                  </a:cubicBezTo>
                  <a:cubicBezTo>
                    <a:pt x="1761" y="997"/>
                    <a:pt x="1771" y="1109"/>
                    <a:pt x="1771" y="1222"/>
                  </a:cubicBezTo>
                  <a:cubicBezTo>
                    <a:pt x="1771" y="1326"/>
                    <a:pt x="1761" y="1437"/>
                    <a:pt x="1744" y="1556"/>
                  </a:cubicBezTo>
                  <a:cubicBezTo>
                    <a:pt x="1300" y="1556"/>
                    <a:pt x="1300" y="1556"/>
                    <a:pt x="1300" y="1556"/>
                  </a:cubicBezTo>
                  <a:lnTo>
                    <a:pt x="1300" y="884"/>
                  </a:lnTo>
                  <a:close/>
                  <a:moveTo>
                    <a:pt x="1300" y="2286"/>
                  </a:moveTo>
                  <a:cubicBezTo>
                    <a:pt x="1300" y="1704"/>
                    <a:pt x="1300" y="1704"/>
                    <a:pt x="1300" y="1704"/>
                  </a:cubicBezTo>
                  <a:cubicBezTo>
                    <a:pt x="1711" y="1704"/>
                    <a:pt x="1711" y="1704"/>
                    <a:pt x="1711" y="1704"/>
                  </a:cubicBezTo>
                  <a:cubicBezTo>
                    <a:pt x="1670" y="1857"/>
                    <a:pt x="1613" y="1987"/>
                    <a:pt x="1541" y="2092"/>
                  </a:cubicBezTo>
                  <a:cubicBezTo>
                    <a:pt x="1467" y="2197"/>
                    <a:pt x="1388" y="2262"/>
                    <a:pt x="1300" y="2286"/>
                  </a:cubicBezTo>
                  <a:close/>
                  <a:moveTo>
                    <a:pt x="1632" y="2219"/>
                  </a:moveTo>
                  <a:cubicBezTo>
                    <a:pt x="1737" y="2086"/>
                    <a:pt x="1815" y="1914"/>
                    <a:pt x="1864" y="1704"/>
                  </a:cubicBezTo>
                  <a:cubicBezTo>
                    <a:pt x="2184" y="1704"/>
                    <a:pt x="2184" y="1704"/>
                    <a:pt x="2184" y="1704"/>
                  </a:cubicBezTo>
                  <a:cubicBezTo>
                    <a:pt x="2071" y="1935"/>
                    <a:pt x="1872" y="2118"/>
                    <a:pt x="1632" y="2219"/>
                  </a:cubicBezTo>
                  <a:close/>
                  <a:moveTo>
                    <a:pt x="2247" y="1556"/>
                  </a:moveTo>
                  <a:cubicBezTo>
                    <a:pt x="1894" y="1556"/>
                    <a:pt x="1894" y="1556"/>
                    <a:pt x="1894" y="1556"/>
                  </a:cubicBezTo>
                  <a:cubicBezTo>
                    <a:pt x="1911" y="1443"/>
                    <a:pt x="1919" y="1331"/>
                    <a:pt x="1919" y="1222"/>
                  </a:cubicBezTo>
                  <a:cubicBezTo>
                    <a:pt x="1919" y="1111"/>
                    <a:pt x="1911" y="998"/>
                    <a:pt x="1894" y="884"/>
                  </a:cubicBezTo>
                  <a:cubicBezTo>
                    <a:pt x="2245" y="884"/>
                    <a:pt x="2245" y="884"/>
                    <a:pt x="2245" y="884"/>
                  </a:cubicBezTo>
                  <a:cubicBezTo>
                    <a:pt x="2281" y="993"/>
                    <a:pt x="2299" y="1105"/>
                    <a:pt x="2299" y="1222"/>
                  </a:cubicBezTo>
                  <a:cubicBezTo>
                    <a:pt x="2299" y="1335"/>
                    <a:pt x="2282" y="1448"/>
                    <a:pt x="2247" y="15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2BE75B5A-CD87-C4EB-F671-B42848E7AADA}"/>
              </a:ext>
            </a:extLst>
          </p:cNvPr>
          <p:cNvSpPr txBox="1"/>
          <p:nvPr/>
        </p:nvSpPr>
        <p:spPr>
          <a:xfrm>
            <a:off x="8349905" y="2662832"/>
            <a:ext cx="2547591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6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1">
                    <a:lumMod val="75000"/>
                  </a:schemeClr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35B6B23-F2C3-C676-0508-D56163968A93}"/>
              </a:ext>
            </a:extLst>
          </p:cNvPr>
          <p:cNvSpPr txBox="1"/>
          <p:nvPr/>
        </p:nvSpPr>
        <p:spPr>
          <a:xfrm>
            <a:off x="8349905" y="1496951"/>
            <a:ext cx="2547591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5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1">
                    <a:lumMod val="75000"/>
                  </a:schemeClr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6667B018-743D-5F96-85E9-CE0B96EEA096}"/>
              </a:ext>
            </a:extLst>
          </p:cNvPr>
          <p:cNvSpPr txBox="1">
            <a:spLocks/>
          </p:cNvSpPr>
          <p:nvPr/>
        </p:nvSpPr>
        <p:spPr>
          <a:xfrm>
            <a:off x="5486401" y="3942027"/>
            <a:ext cx="1371638" cy="52168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000" b="1" dirty="0">
                <a:solidFill>
                  <a:schemeClr val="tx2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2000" b="1" dirty="0">
                <a:solidFill>
                  <a:schemeClr val="tx2"/>
                </a:solidFill>
                <a:latin typeface="+mn-lt"/>
              </a:rPr>
              <a:t> </a:t>
            </a:r>
            <a:br>
              <a:rPr lang="en-IN" sz="1200" b="1" dirty="0">
                <a:solidFill>
                  <a:schemeClr val="tx2"/>
                </a:solidFill>
                <a:latin typeface="+mn-lt"/>
              </a:rPr>
            </a:br>
            <a:r>
              <a:rPr lang="en-IN" sz="1100" dirty="0">
                <a:solidFill>
                  <a:schemeClr val="tx2"/>
                </a:solidFill>
                <a:latin typeface="+mn-lt"/>
              </a:rPr>
              <a:t>SUB-HEADING</a:t>
            </a:r>
            <a:endParaRPr lang="en-IN" sz="10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26269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1</TotalTime>
  <Words>173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Open Sans Light</vt:lpstr>
      <vt:lpstr>Wingdings</vt:lpstr>
      <vt:lpstr>Office Theme</vt:lpstr>
      <vt:lpstr>think-cell Slide</vt:lpstr>
      <vt:lpstr>8 Infographic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35</cp:revision>
  <dcterms:created xsi:type="dcterms:W3CDTF">2021-03-31T02:49:57Z</dcterms:created>
  <dcterms:modified xsi:type="dcterms:W3CDTF">2025-10-15T08:24:42Z</dcterms:modified>
  <cp:category/>
</cp:coreProperties>
</file>